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8" r:id="rId3"/>
    <p:sldMasterId id="2147483674" r:id="rId4"/>
  </p:sldMasterIdLst>
  <p:notesMasterIdLst>
    <p:notesMasterId r:id="rId12"/>
  </p:notesMasterIdLst>
  <p:handoutMasterIdLst>
    <p:handoutMasterId r:id="rId13"/>
  </p:handoutMasterIdLst>
  <p:sldIdLst>
    <p:sldId id="256" r:id="rId5"/>
    <p:sldId id="257" r:id="rId6"/>
    <p:sldId id="258" r:id="rId7"/>
    <p:sldId id="259" r:id="rId8"/>
    <p:sldId id="261" r:id="rId9"/>
    <p:sldId id="262" r:id="rId10"/>
    <p:sldId id="260" r:id="rId11"/>
  </p:sldIdLst>
  <p:sldSz cx="12192000" cy="6858000"/>
  <p:notesSz cx="6797675" cy="9926638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pos="7469" userDrawn="1">
          <p15:clr>
            <a:srgbClr val="A4A3A4"/>
          </p15:clr>
        </p15:guide>
        <p15:guide id="9" pos="3688" userDrawn="1">
          <p15:clr>
            <a:srgbClr val="A4A3A4"/>
          </p15:clr>
        </p15:guide>
        <p15:guide id="10" pos="3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8B8B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81" autoAdjust="0"/>
    <p:restoredTop sz="63488" autoAdjust="0"/>
  </p:normalViewPr>
  <p:slideViewPr>
    <p:cSldViewPr showGuides="1">
      <p:cViewPr>
        <p:scale>
          <a:sx n="75" d="100"/>
          <a:sy n="75" d="100"/>
        </p:scale>
        <p:origin x="1332" y="54"/>
      </p:cViewPr>
      <p:guideLst>
        <p:guide orient="horz" pos="2160"/>
        <p:guide orient="horz" pos="436"/>
        <p:guide orient="horz" pos="119"/>
        <p:guide orient="horz" pos="4156"/>
        <p:guide orient="horz" pos="890"/>
        <p:guide pos="3840"/>
        <p:guide pos="211"/>
        <p:guide pos="7469"/>
        <p:guide pos="3688"/>
        <p:guide pos="3992"/>
      </p:guideLst>
    </p:cSldViewPr>
  </p:slideViewPr>
  <p:outlineViewPr>
    <p:cViewPr>
      <p:scale>
        <a:sx n="33" d="100"/>
        <a:sy n="33" d="100"/>
      </p:scale>
      <p:origin x="0" y="-2184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9" d="100"/>
          <a:sy n="89" d="100"/>
        </p:scale>
        <p:origin x="-3012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CB5D9A-C2F1-4FFB-83CC-A186914A64B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880FF-5A4E-4F25-9CEE-0D75F7C3E5E1}" type="datetimeFigureOut">
              <a:rPr lang="de-DE" smtClean="0"/>
              <a:pPr/>
              <a:t>04.12.2020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31F1D7-8377-4A76-8F5D-3E76EEE25737}" type="datetimeFigureOut">
              <a:rPr lang="de-DE" smtClean="0"/>
              <a:pPr/>
              <a:t>04.12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A0C133-2FF1-4A65-8FB9-994063EC256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44297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A0C133-2FF1-4A65-8FB9-994063EC256F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63250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 smtClean="0"/>
              <a:t>Ort, </a:t>
            </a:r>
            <a:r>
              <a:rPr lang="de-DE" dirty="0" err="1" smtClean="0"/>
              <a:t>xy</a:t>
            </a:r>
            <a:r>
              <a:rPr lang="de-DE" dirty="0" smtClean="0"/>
              <a:t>. Monat 201x</a:t>
            </a:r>
          </a:p>
          <a:p>
            <a:pPr lvl="0"/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 smtClean="0"/>
              <a:t>Dr.-Ing. / Dipl.-Ing. Vorname Nachname</a:t>
            </a:r>
            <a:endParaRPr lang="de-DE" dirty="0"/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799"/>
            <a:ext cx="11523600" cy="961200"/>
          </a:xfr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Name des Vortrags</a:t>
            </a:r>
          </a:p>
          <a:p>
            <a:pPr lvl="0"/>
            <a:r>
              <a:rPr lang="de-DE" dirty="0" smtClean="0"/>
              <a:t>(Vortragstitel, Arial 20pt Fett</a:t>
            </a:r>
          </a:p>
          <a:p>
            <a:pPr lvl="0"/>
            <a:r>
              <a:rPr lang="de-DE" dirty="0" smtClean="0"/>
              <a:t>max. 3-Zeiler)</a:t>
            </a:r>
            <a:endParaRPr lang="de-DE" dirty="0"/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no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 smtClean="0"/>
              <a:t>Veranstaltung</a:t>
            </a:r>
            <a:br>
              <a:rPr lang="de-DE" dirty="0" smtClean="0"/>
            </a:br>
            <a:r>
              <a:rPr lang="de-DE" dirty="0" smtClean="0"/>
              <a:t>(Veranstaltungstitel, Arial 20pt Fett</a:t>
            </a:r>
            <a:br>
              <a:rPr lang="de-DE" dirty="0" smtClean="0"/>
            </a:br>
            <a:r>
              <a:rPr lang="de-DE" dirty="0" smtClean="0"/>
              <a:t>max. 3-Zeiler)</a:t>
            </a:r>
            <a:endParaRPr lang="de-DE" dirty="0"/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aseline="0"/>
            </a:lvl1pPr>
          </a:lstStyle>
          <a:p>
            <a:r>
              <a:rPr lang="de-DE" dirty="0" smtClean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 smtClean="0">
                <a:latin typeface="Arial" pitchFamily="34" charset="0"/>
                <a:cs typeface="Arial" pitchFamily="34" charset="0"/>
              </a:rPr>
            </a:br>
            <a:r>
              <a:rPr lang="de-DE" dirty="0" smtClean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for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 smtClean="0">
                <a:latin typeface="Arial" pitchFamily="34" charset="0"/>
                <a:cs typeface="Arial" pitchFamily="34" charset="0"/>
              </a:rPr>
            </a:br>
            <a:r>
              <a:rPr lang="de-DE" dirty="0" smtClean="0">
                <a:latin typeface="Arial" pitchFamily="34" charset="0"/>
                <a:cs typeface="Arial" pitchFamily="34" charset="0"/>
              </a:rPr>
              <a:t>Forschungsgesellschaft Kraftfahrwesen mbH Aachen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 smtClean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 smtClean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 smtClean="0">
                <a:latin typeface="Arial" pitchFamily="34" charset="0"/>
                <a:cs typeface="Arial" pitchFamily="34" charset="0"/>
              </a:rPr>
            </a:br>
            <a:r>
              <a:rPr lang="en-GB" sz="1800" noProof="0" smtClean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 smtClean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 smtClean="0">
                <a:latin typeface="Arial" pitchFamily="34" charset="0"/>
                <a:cs typeface="Arial" pitchFamily="34" charset="0"/>
              </a:rPr>
              <a:t>www.ika.rwth-aachen.de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Institute for Automotive Engineering</a:t>
            </a:r>
            <a:r>
              <a:rPr lang="en-GB" sz="1800" baseline="0" noProof="0" smtClean="0">
                <a:latin typeface="Arial" pitchFamily="34" charset="0"/>
                <a:cs typeface="Arial" pitchFamily="34" charset="0"/>
              </a:rPr>
              <a:t> (ika)</a:t>
            </a:r>
            <a:endParaRPr lang="en-GB" sz="1800" noProof="0" smtClean="0">
              <a:latin typeface="Arial" pitchFamily="34" charset="0"/>
              <a:cs typeface="Arial" pitchFamily="34" charset="0"/>
            </a:endParaRPr>
          </a:p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Steinbachstr. 7</a:t>
            </a:r>
          </a:p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Germany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 smtClean="0"/>
              <a:t>Dr.-Ing. / Dipl.-Ing. Vorname Nachname (Bearbeiter, Ansprechpartner)</a:t>
            </a:r>
            <a:endParaRPr lang="en-GB" noProof="0"/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 smtClean="0"/>
              <a:t>+49 241 80 xxxxx</a:t>
            </a:r>
          </a:p>
          <a:p>
            <a:pPr lvl="0"/>
            <a:r>
              <a:rPr lang="en-GB" noProof="0" smtClean="0"/>
              <a:t>+49 241 80 22147</a:t>
            </a:r>
          </a:p>
          <a:p>
            <a:pPr lvl="0"/>
            <a:endParaRPr lang="en-GB" noProof="0" smtClean="0"/>
          </a:p>
          <a:p>
            <a:pPr lvl="0"/>
            <a:r>
              <a:rPr lang="en-GB" noProof="0" smtClean="0"/>
              <a:t>xxxxx@ika.rwth-aachen.de</a:t>
            </a:r>
            <a:endParaRPr lang="en-GB" noProof="0"/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 smtClean="0">
                <a:latin typeface="Arial" pitchFamily="34" charset="0"/>
                <a:cs typeface="Arial" pitchFamily="34" charset="0"/>
              </a:rPr>
              <a:t>Contact</a:t>
            </a:r>
            <a:endParaRPr lang="en-GB" sz="2200" b="1" noProof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 smtClean="0"/>
              <a:t>Ort, </a:t>
            </a:r>
            <a:r>
              <a:rPr lang="de-DE" dirty="0" err="1" smtClean="0"/>
              <a:t>xy</a:t>
            </a:r>
            <a:r>
              <a:rPr lang="de-DE" dirty="0" smtClean="0"/>
              <a:t>. Monat 201x</a:t>
            </a:r>
            <a:endParaRPr lang="de-DE" dirty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 smtClean="0"/>
              <a:t>Dr.-Ing. / Dipl.-Ing. Vorname Nachname</a:t>
            </a:r>
            <a:endParaRPr lang="de-DE" dirty="0"/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Name des Vortrags</a:t>
            </a:r>
          </a:p>
          <a:p>
            <a:pPr lvl="0"/>
            <a:r>
              <a:rPr lang="de-DE" dirty="0" smtClean="0"/>
              <a:t>(Vortragstitel, Arial 20pt Fett</a:t>
            </a:r>
          </a:p>
          <a:p>
            <a:pPr lvl="0"/>
            <a:r>
              <a:rPr lang="de-DE" dirty="0" smtClean="0"/>
              <a:t>max. 3-Zeiler)</a:t>
            </a:r>
            <a:endParaRPr lang="de-DE" dirty="0"/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de-DE" dirty="0" smtClean="0"/>
              <a:t>Veranstaltung</a:t>
            </a:r>
            <a:br>
              <a:rPr lang="de-DE" dirty="0" smtClean="0"/>
            </a:br>
            <a:r>
              <a:rPr lang="de-DE" dirty="0" smtClean="0"/>
              <a:t>(Veranstaltungstitel, Arial 20pt Fett</a:t>
            </a:r>
            <a:br>
              <a:rPr lang="de-DE" dirty="0" smtClean="0"/>
            </a:br>
            <a:r>
              <a:rPr lang="de-DE" dirty="0" smtClean="0"/>
              <a:t>max. 3-Zeiler)</a:t>
            </a:r>
            <a:endParaRPr lang="de-DE" dirty="0"/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r>
              <a:rPr lang="de-DE" dirty="0" smtClean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de-DE" dirty="0" smtClean="0">
                <a:latin typeface="Arial" pitchFamily="34" charset="0"/>
                <a:cs typeface="Arial" pitchFamily="34" charset="0"/>
              </a:rPr>
            </a:br>
            <a:r>
              <a:rPr lang="de-DE" dirty="0" smtClean="0">
                <a:latin typeface="Arial" pitchFamily="34" charset="0"/>
                <a:cs typeface="Arial" pitchFamily="34" charset="0"/>
              </a:rPr>
              <a:t>Institut für Kraftfahrzeuge bzw. Institute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for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Automotive Engineering</a:t>
            </a:r>
            <a:br>
              <a:rPr lang="de-DE" dirty="0" smtClean="0">
                <a:latin typeface="Arial" pitchFamily="34" charset="0"/>
                <a:cs typeface="Arial" pitchFamily="34" charset="0"/>
              </a:rPr>
            </a:br>
            <a:r>
              <a:rPr lang="de-DE" dirty="0" smtClean="0">
                <a:latin typeface="Arial" pitchFamily="34" charset="0"/>
                <a:cs typeface="Arial" pitchFamily="34" charset="0"/>
              </a:rPr>
              <a:t>Forschungsgesellschaft Kraftfahrwesen mbH Aachen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 smtClean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 smtClean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 smtClean="0">
                <a:latin typeface="Arial" pitchFamily="34" charset="0"/>
                <a:cs typeface="Arial" pitchFamily="34" charset="0"/>
              </a:rPr>
            </a:br>
            <a:r>
              <a:rPr lang="de-DE" sz="1800" dirty="0" smtClean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 smtClean="0">
                <a:latin typeface="Arial" pitchFamily="34" charset="0"/>
                <a:cs typeface="Arial" pitchFamily="34" charset="0"/>
              </a:rPr>
              <a:t>www.fka.de</a:t>
            </a:r>
            <a:endParaRPr lang="de-DE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fka Forschungsgesellschaft Kraftfahrwesen mbH Aachen</a:t>
            </a:r>
          </a:p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52074 Aachen</a:t>
            </a:r>
            <a:endParaRPr lang="de-DE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dirty="0" smtClean="0"/>
              <a:t>Dr.-Ing. / Dipl.-Ing. Vorname Nachname (Bearbeiter, Ansprechpartner)</a:t>
            </a:r>
            <a:endParaRPr lang="de-DE" dirty="0"/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 dirty="0" smtClean="0"/>
              <a:t>+49 241 8861 xxx</a:t>
            </a:r>
          </a:p>
          <a:p>
            <a:pPr lvl="0"/>
            <a:r>
              <a:rPr lang="fr-FR" dirty="0" smtClean="0"/>
              <a:t>+49 241 8861 110</a:t>
            </a:r>
          </a:p>
          <a:p>
            <a:pPr lvl="0"/>
            <a:endParaRPr lang="fr-FR" dirty="0" smtClean="0"/>
          </a:p>
          <a:p>
            <a:pPr lvl="0"/>
            <a:r>
              <a:rPr lang="fr-FR" dirty="0" smtClean="0"/>
              <a:t>xxxxx@fka.de</a:t>
            </a:r>
            <a:endParaRPr lang="de-DE" dirty="0"/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 smtClean="0">
                <a:latin typeface="Arial" pitchFamily="34" charset="0"/>
                <a:cs typeface="Arial" pitchFamily="34" charset="0"/>
              </a:rPr>
              <a:t>Kontakt</a:t>
            </a:r>
            <a:endParaRPr lang="de-DE" sz="2200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 smtClean="0"/>
              <a:t>Venue, xy Month 201x</a:t>
            </a:r>
            <a:endParaRPr lang="en-GB" noProof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 smtClean="0"/>
              <a:t>Dr.-Ing. / Dipl.-Ing. Vorname</a:t>
            </a:r>
            <a:endParaRPr lang="en-GB" noProof="0"/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Name des Vortrags</a:t>
            </a:r>
          </a:p>
          <a:p>
            <a:pPr lvl="0"/>
            <a:r>
              <a:rPr lang="en-GB" noProof="0" smtClean="0"/>
              <a:t>(Vortragstitel, Arial 20pt Fett</a:t>
            </a:r>
          </a:p>
          <a:p>
            <a:pPr lvl="0"/>
            <a:r>
              <a:rPr lang="en-GB" noProof="0" smtClean="0"/>
              <a:t>max. 3-Zeiler)</a:t>
            </a:r>
            <a:endParaRPr lang="en-GB" noProof="0"/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lnSpc>
                <a:spcPts val="2500"/>
              </a:lnSpc>
              <a:defRPr sz="2200"/>
            </a:lvl1pPr>
          </a:lstStyle>
          <a:p>
            <a:r>
              <a:rPr lang="en-GB" noProof="0" smtClean="0"/>
              <a:t>Veranstaltung</a:t>
            </a:r>
            <a:br>
              <a:rPr lang="en-GB" noProof="0" smtClean="0"/>
            </a:br>
            <a:r>
              <a:rPr lang="en-GB" noProof="0" smtClean="0"/>
              <a:t>(Veranstaltungstitel, Arial 20pt Fett</a:t>
            </a:r>
            <a:br>
              <a:rPr lang="en-GB" noProof="0" smtClean="0"/>
            </a:br>
            <a:r>
              <a:rPr lang="en-GB" noProof="0" smtClean="0"/>
              <a:t>max. 3-Zeiler)</a:t>
            </a:r>
            <a:endParaRPr lang="en-GB" noProof="0"/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 smtClean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 smtClean="0">
                <a:latin typeface="Arial" pitchFamily="34" charset="0"/>
                <a:cs typeface="Arial" pitchFamily="34" charset="0"/>
              </a:rPr>
            </a:br>
            <a:r>
              <a:rPr lang="en-GB" noProof="0" smtClean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 smtClean="0">
                <a:latin typeface="Arial" pitchFamily="34" charset="0"/>
                <a:cs typeface="Arial" pitchFamily="34" charset="0"/>
              </a:rPr>
            </a:br>
            <a:r>
              <a:rPr lang="en-GB" noProof="0" smtClean="0">
                <a:latin typeface="Arial" pitchFamily="34" charset="0"/>
                <a:cs typeface="Arial" pitchFamily="34" charset="0"/>
              </a:rPr>
              <a:t>Forschungsgesellschaft Kraftfahrwesen mbH Aachen</a:t>
            </a:r>
            <a:endParaRPr lang="en-GB" noProof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  <a:endParaRPr lang="en-GB" noProof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  <a:endParaRPr lang="en-GB" noProof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  <a:endParaRPr lang="en-GB" noProof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  <a:endParaRPr lang="en-GB" noProof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Autofit/>
          </a:bodyPr>
          <a:lstStyle>
            <a:lvl1pPr marL="360000" indent="-360000">
              <a:defRPr sz="1800"/>
            </a:lvl1pPr>
            <a:lvl2pPr marL="720000" indent="-360000">
              <a:defRPr sz="1800"/>
            </a:lvl2pPr>
            <a:lvl3pPr marL="1080000" indent="-360000">
              <a:defRPr sz="1800"/>
            </a:lvl3pPr>
            <a:lvl4pPr indent="-360000">
              <a:defRPr sz="1800"/>
            </a:lvl4pPr>
            <a:lvl5pPr marL="1800000" indent="-360000">
              <a:defRPr sz="18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Phone</a:t>
            </a:r>
          </a:p>
          <a:p>
            <a:r>
              <a:rPr lang="en-GB" sz="1800" noProof="0" smtClean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en-GB" sz="1800" noProof="0" smtClean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en-GB" sz="1800" noProof="0" smtClean="0">
                <a:latin typeface="Arial" pitchFamily="34" charset="0"/>
                <a:cs typeface="Arial" pitchFamily="34" charset="0"/>
              </a:rPr>
              <a:t>Email</a:t>
            </a:r>
            <a:br>
              <a:rPr lang="en-GB" sz="1800" noProof="0" smtClean="0">
                <a:latin typeface="Arial" pitchFamily="34" charset="0"/>
                <a:cs typeface="Arial" pitchFamily="34" charset="0"/>
              </a:rPr>
            </a:br>
            <a:r>
              <a:rPr lang="en-GB" sz="1800" noProof="0" smtClean="0">
                <a:latin typeface="Arial" pitchFamily="34" charset="0"/>
                <a:cs typeface="Arial" pitchFamily="34" charset="0"/>
              </a:rPr>
              <a:t>Internet</a:t>
            </a:r>
            <a:r>
              <a:rPr lang="en-GB" sz="1800" baseline="0" noProof="0" smtClean="0">
                <a:latin typeface="Arial" pitchFamily="34" charset="0"/>
                <a:cs typeface="Arial" pitchFamily="34" charset="0"/>
              </a:rPr>
              <a:t>	</a:t>
            </a:r>
            <a:r>
              <a:rPr lang="en-GB" sz="1800" noProof="0" smtClean="0">
                <a:latin typeface="Arial" pitchFamily="34" charset="0"/>
                <a:cs typeface="Arial" pitchFamily="34" charset="0"/>
              </a:rPr>
              <a:t>www.fka.de</a:t>
            </a:r>
            <a:endParaRPr lang="en-GB" sz="1800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en-GB" sz="1800" noProof="0" dirty="0" smtClean="0">
                <a:latin typeface="Arial" pitchFamily="34" charset="0"/>
                <a:cs typeface="Arial" pitchFamily="34" charset="0"/>
              </a:rPr>
              <a:t>fka </a:t>
            </a:r>
            <a:r>
              <a:rPr lang="en-GB" sz="1800" noProof="0" dirty="0" err="1" smtClean="0">
                <a:latin typeface="Arial" pitchFamily="34" charset="0"/>
                <a:cs typeface="Arial" pitchFamily="34" charset="0"/>
              </a:rPr>
              <a:t>Forschungsgesellschaft</a:t>
            </a:r>
            <a:r>
              <a:rPr lang="en-GB" sz="1800" noProof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1800" noProof="0" dirty="0" err="1" smtClean="0">
                <a:latin typeface="Arial" pitchFamily="34" charset="0"/>
                <a:cs typeface="Arial" pitchFamily="34" charset="0"/>
              </a:rPr>
              <a:t>Kraftfahrwesen</a:t>
            </a:r>
            <a:r>
              <a:rPr lang="en-GB" sz="1800" noProof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1800" noProof="0" dirty="0" err="1" smtClean="0">
                <a:latin typeface="Arial" pitchFamily="34" charset="0"/>
                <a:cs typeface="Arial" pitchFamily="34" charset="0"/>
              </a:rPr>
              <a:t>mbH</a:t>
            </a:r>
            <a:r>
              <a:rPr lang="en-GB" sz="1800" noProof="0" dirty="0" smtClean="0">
                <a:latin typeface="Arial" pitchFamily="34" charset="0"/>
                <a:cs typeface="Arial" pitchFamily="34" charset="0"/>
              </a:rPr>
              <a:t> Aachen</a:t>
            </a:r>
          </a:p>
          <a:p>
            <a:r>
              <a:rPr lang="en-GB" sz="1800" noProof="0" dirty="0" err="1" smtClean="0">
                <a:latin typeface="Arial" pitchFamily="34" charset="0"/>
                <a:cs typeface="Arial" pitchFamily="34" charset="0"/>
              </a:rPr>
              <a:t>Steinbachstr</a:t>
            </a:r>
            <a:r>
              <a:rPr lang="en-GB" sz="1800" noProof="0" dirty="0" smtClean="0">
                <a:latin typeface="Arial" pitchFamily="34" charset="0"/>
                <a:cs typeface="Arial" pitchFamily="34" charset="0"/>
              </a:rPr>
              <a:t>. 7</a:t>
            </a:r>
          </a:p>
          <a:p>
            <a:r>
              <a:rPr lang="en-GB" sz="1800" noProof="0" dirty="0" smtClean="0">
                <a:latin typeface="Arial" pitchFamily="34" charset="0"/>
                <a:cs typeface="Arial" pitchFamily="34" charset="0"/>
              </a:rPr>
              <a:t>52074 Aachen</a:t>
            </a:r>
          </a:p>
          <a:p>
            <a:r>
              <a:rPr lang="en-GB" sz="1800" noProof="0" dirty="0" smtClean="0">
                <a:latin typeface="Arial" pitchFamily="34" charset="0"/>
                <a:cs typeface="Arial" pitchFamily="34" charset="0"/>
              </a:rPr>
              <a:t>Germany</a:t>
            </a:r>
            <a:endParaRPr lang="en-GB" sz="1800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 smtClean="0"/>
              <a:t>Dr.-Ing. / Dipl.-Ing. Vorname Nachname (Bearbeiter, Ansprechpartner)</a:t>
            </a:r>
            <a:endParaRPr lang="en-GB" noProof="0"/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noProof="0" smtClean="0"/>
              <a:t>+49 241 8861 xxx</a:t>
            </a:r>
          </a:p>
          <a:p>
            <a:pPr lvl="0"/>
            <a:r>
              <a:rPr lang="en-GB" noProof="0" smtClean="0"/>
              <a:t>+49 241 8861 110</a:t>
            </a:r>
          </a:p>
          <a:p>
            <a:pPr lvl="0"/>
            <a:endParaRPr lang="en-GB" noProof="0" smtClean="0"/>
          </a:p>
          <a:p>
            <a:pPr lvl="0"/>
            <a:r>
              <a:rPr lang="en-GB" noProof="0" smtClean="0"/>
              <a:t>xxxxx@fka.de</a:t>
            </a:r>
            <a:endParaRPr lang="en-GB" noProof="0"/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en-GB" sz="2200" b="1" noProof="0" smtClean="0">
                <a:latin typeface="Arial" pitchFamily="34" charset="0"/>
                <a:cs typeface="Arial" pitchFamily="34" charset="0"/>
              </a:rPr>
              <a:t>Contact</a:t>
            </a:r>
            <a:endParaRPr lang="en-GB" sz="2200" b="1" noProof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KontaktTypen"/>
          <p:cNvSpPr/>
          <p:nvPr userDrawn="1"/>
        </p:nvSpPr>
        <p:spPr>
          <a:xfrm>
            <a:off x="334800" y="5212799"/>
            <a:ext cx="11523600" cy="13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Telefon</a:t>
            </a:r>
          </a:p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Fax</a:t>
            </a:r>
          </a:p>
          <a:p>
            <a:endParaRPr lang="de-DE" sz="1800" dirty="0" smtClean="0">
              <a:latin typeface="Arial" pitchFamily="34" charset="0"/>
              <a:cs typeface="Arial" pitchFamily="34" charset="0"/>
            </a:endParaRPr>
          </a:p>
          <a:p>
            <a:pPr>
              <a:tabLst>
                <a:tab pos="990600" algn="l"/>
              </a:tabLst>
            </a:pPr>
            <a:r>
              <a:rPr lang="de-DE" sz="1800" dirty="0" smtClean="0">
                <a:latin typeface="Arial" pitchFamily="34" charset="0"/>
                <a:cs typeface="Arial" pitchFamily="34" charset="0"/>
              </a:rPr>
              <a:t>E-Mail</a:t>
            </a:r>
            <a:br>
              <a:rPr lang="de-DE" sz="1800" dirty="0" smtClean="0">
                <a:latin typeface="Arial" pitchFamily="34" charset="0"/>
                <a:cs typeface="Arial" pitchFamily="34" charset="0"/>
              </a:rPr>
            </a:br>
            <a:r>
              <a:rPr lang="de-DE" sz="1800" dirty="0" smtClean="0">
                <a:latin typeface="Arial" pitchFamily="34" charset="0"/>
                <a:cs typeface="Arial" pitchFamily="34" charset="0"/>
              </a:rPr>
              <a:t>Internet</a:t>
            </a:r>
            <a:r>
              <a:rPr lang="de-DE" sz="1800" baseline="0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de-DE" sz="1800" dirty="0" smtClean="0">
                <a:latin typeface="Arial" pitchFamily="34" charset="0"/>
                <a:cs typeface="Arial" pitchFamily="34" charset="0"/>
              </a:rPr>
              <a:t>www.ika.rwth-aachen.de</a:t>
            </a:r>
            <a:endParaRPr lang="de-DE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dresse"/>
          <p:cNvSpPr/>
          <p:nvPr userDrawn="1"/>
        </p:nvSpPr>
        <p:spPr>
          <a:xfrm>
            <a:off x="334800" y="3214800"/>
            <a:ext cx="11523600" cy="1432800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Institut für Kraftfahrzeuge</a:t>
            </a:r>
          </a:p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RWTH Aachen University</a:t>
            </a:r>
          </a:p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Steinbachstraße 7</a:t>
            </a:r>
          </a:p>
          <a:p>
            <a:r>
              <a:rPr lang="de-DE" sz="1800" dirty="0" smtClean="0">
                <a:latin typeface="Arial" pitchFamily="34" charset="0"/>
                <a:cs typeface="Arial" pitchFamily="34" charset="0"/>
              </a:rPr>
              <a:t>52074 Aachen</a:t>
            </a:r>
            <a:endParaRPr lang="de-DE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2350799"/>
            <a:ext cx="11523600" cy="36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8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 smtClean="0"/>
              <a:t>Dr.-Ing. / Dipl.-Ing. Vorname Nachname (Bearbeiter, Ansprechpartner)</a:t>
            </a:r>
          </a:p>
        </p:txBody>
      </p:sp>
      <p:sp>
        <p:nvSpPr>
          <p:cNvPr id="12" name="KontaktDaten"/>
          <p:cNvSpPr>
            <a:spLocks noGrp="1"/>
          </p:cNvSpPr>
          <p:nvPr>
            <p:ph type="body" sz="quarter" idx="13" hasCustomPrompt="1"/>
          </p:nvPr>
        </p:nvSpPr>
        <p:spPr>
          <a:xfrm>
            <a:off x="1313999" y="5212799"/>
            <a:ext cx="10544400" cy="1170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 dirty="0" smtClean="0"/>
              <a:t>+49 241 80 </a:t>
            </a:r>
            <a:r>
              <a:rPr lang="de-DE" dirty="0" err="1" smtClean="0"/>
              <a:t>xxxxx</a:t>
            </a:r>
            <a:endParaRPr lang="de-DE" dirty="0" smtClean="0"/>
          </a:p>
          <a:p>
            <a:pPr lvl="0"/>
            <a:r>
              <a:rPr lang="de-DE" dirty="0" smtClean="0"/>
              <a:t>+49 241 80 22147</a:t>
            </a:r>
          </a:p>
          <a:p>
            <a:pPr lvl="0"/>
            <a:endParaRPr lang="de-DE" dirty="0" smtClean="0"/>
          </a:p>
          <a:p>
            <a:pPr lvl="0"/>
            <a:r>
              <a:rPr lang="de-DE" dirty="0" smtClean="0"/>
              <a:t>xxxxx@ika.rwth-aachen.de</a:t>
            </a:r>
            <a:endParaRPr lang="de-DE" dirty="0"/>
          </a:p>
        </p:txBody>
      </p:sp>
      <p:sp>
        <p:nvSpPr>
          <p:cNvPr id="7" name="Titel"/>
          <p:cNvSpPr txBox="1"/>
          <p:nvPr userDrawn="1"/>
        </p:nvSpPr>
        <p:spPr>
          <a:xfrm>
            <a:off x="334799" y="190800"/>
            <a:ext cx="8784000" cy="57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ts val="2500"/>
              </a:lnSpc>
            </a:pPr>
            <a:r>
              <a:rPr lang="de-DE" sz="2200" b="1" dirty="0" smtClean="0">
                <a:latin typeface="Arial" pitchFamily="34" charset="0"/>
                <a:cs typeface="Arial" pitchFamily="34" charset="0"/>
              </a:rPr>
              <a:t>Kontakt</a:t>
            </a:r>
            <a:endParaRPr lang="de-DE" sz="2200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rtDatum"/>
          <p:cNvSpPr>
            <a:spLocks noGrp="1"/>
          </p:cNvSpPr>
          <p:nvPr>
            <p:ph type="body" sz="quarter" idx="11" hasCustomPrompt="1"/>
          </p:nvPr>
        </p:nvSpPr>
        <p:spPr>
          <a:xfrm>
            <a:off x="334799" y="4654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 smtClean="0"/>
              <a:t>Venue, xy Month 201x</a:t>
            </a:r>
            <a:endParaRPr lang="en-GB" noProof="0"/>
          </a:p>
        </p:txBody>
      </p:sp>
      <p:sp>
        <p:nvSpPr>
          <p:cNvPr id="13" name="Name"/>
          <p:cNvSpPr>
            <a:spLocks noGrp="1"/>
          </p:cNvSpPr>
          <p:nvPr>
            <p:ph type="body" sz="quarter" idx="12" hasCustomPrompt="1"/>
          </p:nvPr>
        </p:nvSpPr>
        <p:spPr>
          <a:xfrm>
            <a:off x="334799" y="5158799"/>
            <a:ext cx="11523600" cy="36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GB" noProof="0" smtClean="0"/>
              <a:t>Dr.-Ing. / Dipl.-Ing. Vorname Nachname</a:t>
            </a:r>
            <a:endParaRPr lang="en-GB" noProof="0"/>
          </a:p>
        </p:txBody>
      </p:sp>
      <p:sp>
        <p:nvSpPr>
          <p:cNvPr id="8" name="Vortragstitel"/>
          <p:cNvSpPr>
            <a:spLocks noGrp="1"/>
          </p:cNvSpPr>
          <p:nvPr>
            <p:ph sz="quarter" idx="10" hasCustomPrompt="1"/>
          </p:nvPr>
        </p:nvSpPr>
        <p:spPr>
          <a:xfrm>
            <a:off x="334799" y="2782800"/>
            <a:ext cx="11523600" cy="1115690"/>
          </a:xfrm>
        </p:spPr>
        <p:txBody>
          <a:bodyPr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de-DE" sz="2200" b="1" kern="1200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Name des Vortrags</a:t>
            </a:r>
          </a:p>
          <a:p>
            <a:pPr lvl="0"/>
            <a:r>
              <a:rPr lang="en-GB" noProof="0" smtClean="0"/>
              <a:t>(Vortragstitel, Arial 20pt Fett</a:t>
            </a:r>
          </a:p>
          <a:p>
            <a:pPr lvl="0"/>
            <a:r>
              <a:rPr lang="en-GB" noProof="0" smtClean="0"/>
              <a:t>max. 3-Zeiler)</a:t>
            </a:r>
            <a:endParaRPr lang="en-GB" noProof="0"/>
          </a:p>
        </p:txBody>
      </p:sp>
      <p:sp>
        <p:nvSpPr>
          <p:cNvPr id="2" name="Veranstaltungstitel"/>
          <p:cNvSpPr>
            <a:spLocks noGrp="1"/>
          </p:cNvSpPr>
          <p:nvPr>
            <p:ph type="ctrTitle" hasCustomPrompt="1"/>
          </p:nvPr>
        </p:nvSpPr>
        <p:spPr>
          <a:xfrm>
            <a:off x="334799" y="1447199"/>
            <a:ext cx="11523600" cy="961200"/>
          </a:xfrm>
        </p:spPr>
        <p:txBody>
          <a:bodyPr anchor="t">
            <a:spAutoFit/>
          </a:bodyPr>
          <a:lstStyle>
            <a:lvl1pPr>
              <a:defRPr/>
            </a:lvl1pPr>
          </a:lstStyle>
          <a:p>
            <a:r>
              <a:rPr lang="en-GB" noProof="0" dirty="0" err="1" smtClean="0"/>
              <a:t>Veranstaltung</a:t>
            </a: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(</a:t>
            </a:r>
            <a:r>
              <a:rPr lang="en-GB" noProof="0" dirty="0" err="1" smtClean="0"/>
              <a:t>Veranstaltungstitel</a:t>
            </a:r>
            <a:r>
              <a:rPr lang="en-GB" noProof="0" dirty="0" smtClean="0"/>
              <a:t>, Arial 20pt </a:t>
            </a:r>
            <a:r>
              <a:rPr lang="en-GB" noProof="0" dirty="0" err="1" smtClean="0"/>
              <a:t>Fett</a:t>
            </a: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max. 3-Zeiler)</a:t>
            </a:r>
            <a:endParaRPr lang="en-GB" noProof="0" dirty="0"/>
          </a:p>
        </p:txBody>
      </p:sp>
      <p:sp>
        <p:nvSpPr>
          <p:cNvPr id="7" name="Adresse"/>
          <p:cNvSpPr>
            <a:spLocks noGrp="1"/>
          </p:cNvSpPr>
          <p:nvPr>
            <p:ph type="body" sz="quarter" idx="13" hasCustomPrompt="1"/>
          </p:nvPr>
        </p:nvSpPr>
        <p:spPr>
          <a:xfrm>
            <a:off x="334799" y="5806800"/>
            <a:ext cx="11523600" cy="792000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r>
              <a:rPr lang="en-GB" noProof="0" smtClean="0">
                <a:latin typeface="Arial" pitchFamily="34" charset="0"/>
                <a:cs typeface="Arial" pitchFamily="34" charset="0"/>
              </a:rPr>
              <a:t>Textplatzhalter dem Design entsprechend füllen:</a:t>
            </a:r>
            <a:br>
              <a:rPr lang="en-GB" noProof="0" smtClean="0">
                <a:latin typeface="Arial" pitchFamily="34" charset="0"/>
                <a:cs typeface="Arial" pitchFamily="34" charset="0"/>
              </a:rPr>
            </a:br>
            <a:r>
              <a:rPr lang="en-GB" noProof="0" smtClean="0">
                <a:latin typeface="Arial" pitchFamily="34" charset="0"/>
                <a:cs typeface="Arial" pitchFamily="34" charset="0"/>
              </a:rPr>
              <a:t>Institut für Kraftfahrzeuge bzw. Institute for Automotive Engineering</a:t>
            </a:r>
            <a:br>
              <a:rPr lang="en-GB" noProof="0" smtClean="0">
                <a:latin typeface="Arial" pitchFamily="34" charset="0"/>
                <a:cs typeface="Arial" pitchFamily="34" charset="0"/>
              </a:rPr>
            </a:br>
            <a:r>
              <a:rPr lang="en-GB" noProof="0" smtClean="0">
                <a:latin typeface="Arial" pitchFamily="34" charset="0"/>
                <a:cs typeface="Arial" pitchFamily="34" charset="0"/>
              </a:rPr>
              <a:t>Forschungsgesellschaft Kraftfahrwesen mbH Aachen</a:t>
            </a:r>
            <a:endParaRPr lang="en-GB" noProof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0596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 marL="36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2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8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0000" indent="-36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lang="de-DE" sz="1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  <a:endParaRPr lang="en-GB" noProof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627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Inhaltsplatzhalter"/>
          <p:cNvSpPr>
            <a:spLocks noGrp="1"/>
          </p:cNvSpPr>
          <p:nvPr>
            <p:ph idx="1"/>
          </p:nvPr>
        </p:nvSpPr>
        <p:spPr>
          <a:xfrm>
            <a:off x="334799" y="1447199"/>
            <a:ext cx="11523600" cy="5144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  <a:endParaRPr lang="en-GB" noProof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</p:spPr>
        <p:txBody>
          <a:bodyPr anchor="b"/>
          <a:lstStyle/>
          <a:p>
            <a:r>
              <a:rPr lang="en-GB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InhaltsplatzhalterLinks"/>
          <p:cNvSpPr>
            <a:spLocks noGrp="1"/>
          </p:cNvSpPr>
          <p:nvPr>
            <p:ph sz="half" idx="1"/>
          </p:nvPr>
        </p:nvSpPr>
        <p:spPr>
          <a:xfrm>
            <a:off x="3348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  <a:endParaRPr lang="en-GB" noProof="0"/>
          </a:p>
        </p:txBody>
      </p:sp>
      <p:sp>
        <p:nvSpPr>
          <p:cNvPr id="4" name="InhaltsplatzhalterRechts"/>
          <p:cNvSpPr>
            <a:spLocks noGrp="1"/>
          </p:cNvSpPr>
          <p:nvPr>
            <p:ph sz="half" idx="2"/>
          </p:nvPr>
        </p:nvSpPr>
        <p:spPr>
          <a:xfrm>
            <a:off x="6336000" y="1447199"/>
            <a:ext cx="5518800" cy="5151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  <a:endParaRPr lang="en-GB" noProof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3" name="think-cell Folie" r:id="rId9" imgW="360" imgH="360" progId="TCLayout.ActiveDocument.1">
                  <p:embed/>
                </p:oleObj>
              </mc:Choice>
              <mc:Fallback>
                <p:oleObj name="think-cell Folie" r:id="rId9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</a:t>
            </a:r>
            <a:r>
              <a:rPr lang="en-US" sz="900" kern="1200" noProof="0" dirty="0" err="1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07.2018</a:t>
            </a:r>
            <a:endParaRPr lang="en-US" sz="900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Logo" descr="K:\ika-fka\Vorlagen\LOGOS\ika\6 PNG\ika Logo rgb.png"/>
          <p:cNvPicPr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514800" y="183600"/>
            <a:ext cx="2343600" cy="5292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2" r:id="rId4"/>
    <p:sldLayoutId id="2147483655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10882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9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 smtClean="0"/>
              <a:t>Textmasterformate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/>
          </a:p>
        </p:txBody>
      </p:sp>
      <p:pic>
        <p:nvPicPr>
          <p:cNvPr id="7" name="Logo" descr="ika-Logo-rgb.png"/>
          <p:cNvPicPr>
            <a:picLocks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9514800" y="183600"/>
            <a:ext cx="2343600" cy="529200"/>
          </a:xfrm>
          <a:prstGeom prst="rect">
            <a:avLst/>
          </a:prstGeom>
        </p:spPr>
      </p:pic>
      <p:sp>
        <p:nvSpPr>
          <p:cNvPr id="13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</a:t>
            </a:r>
            <a:r>
              <a:rPr lang="en-US" sz="900" kern="1200" noProof="0" dirty="0" err="1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ka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4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8/07/30</a:t>
            </a:r>
            <a:endParaRPr lang="en-US" sz="900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grpSp>
        <p:nvGrpSpPr>
          <p:cNvPr id="13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14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5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6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7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18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  <p:sp>
        <p:nvSpPr>
          <p:cNvPr id="19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err="1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·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20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30.07.2018</a:t>
            </a:r>
            <a:endParaRPr lang="en-US" sz="900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lie</a:t>
            </a:r>
            <a:r>
              <a:rPr lang="en-US" sz="900" baseline="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Nr</a:t>
            </a:r>
            <a:r>
              <a:rPr lang="en-US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sterTitel"/>
          <p:cNvSpPr>
            <a:spLocks noGrp="1"/>
          </p:cNvSpPr>
          <p:nvPr>
            <p:ph type="title"/>
          </p:nvPr>
        </p:nvSpPr>
        <p:spPr>
          <a:xfrm>
            <a:off x="334799" y="190800"/>
            <a:ext cx="8784000" cy="5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MasterTextplatzhalter"/>
          <p:cNvSpPr>
            <a:spLocks noGrp="1"/>
          </p:cNvSpPr>
          <p:nvPr>
            <p:ph type="body" idx="1"/>
          </p:nvPr>
        </p:nvSpPr>
        <p:spPr>
          <a:xfrm>
            <a:off x="334799" y="1447199"/>
            <a:ext cx="11523600" cy="514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  <a:endParaRPr lang="en-GB" noProof="0"/>
          </a:p>
        </p:txBody>
      </p:sp>
      <p:sp>
        <p:nvSpPr>
          <p:cNvPr id="10" name="FusszeileUntenRechts"/>
          <p:cNvSpPr txBox="1"/>
          <p:nvPr/>
        </p:nvSpPr>
        <p:spPr>
          <a:xfrm>
            <a:off x="9457567" y="6597650"/>
            <a:ext cx="2400000" cy="2592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©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err="1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ka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2017 ·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All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ights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900" kern="120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reserved</a:t>
            </a:r>
          </a:p>
        </p:txBody>
      </p:sp>
      <p:sp>
        <p:nvSpPr>
          <p:cNvPr id="11" name="FusszeileDatum"/>
          <p:cNvSpPr txBox="1"/>
          <p:nvPr/>
        </p:nvSpPr>
        <p:spPr>
          <a:xfrm>
            <a:off x="6096000" y="6597650"/>
            <a:ext cx="1152128" cy="260350"/>
          </a:xfrm>
          <a:prstGeom prst="rect">
            <a:avLst/>
          </a:prstGeom>
          <a:noFill/>
        </p:spPr>
        <p:txBody>
          <a:bodyPr wrap="square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18/07/30</a:t>
            </a:r>
            <a:endParaRPr lang="en-US" sz="900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usszeileFolienNummer"/>
          <p:cNvSpPr txBox="1"/>
          <p:nvPr/>
        </p:nvSpPr>
        <p:spPr>
          <a:xfrm>
            <a:off x="4416000" y="6597650"/>
            <a:ext cx="1680000" cy="260350"/>
          </a:xfrm>
          <a:prstGeom prst="rect">
            <a:avLst/>
          </a:prstGeom>
          <a:noFill/>
        </p:spPr>
        <p:txBody>
          <a:bodyPr wrap="square" lIns="0" tIns="0" rIns="90000" bIns="0" rtlCol="0" anchor="ctr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lide No. </a:t>
            </a:r>
            <a:fld id="{AD55335C-F627-4D95-98CA-738788D5686D}" type="slidenum">
              <a:rPr lang="de-DE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900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usszeileUntenLinks"/>
          <p:cNvSpPr txBox="1"/>
          <p:nvPr/>
        </p:nvSpPr>
        <p:spPr>
          <a:xfrm>
            <a:off x="334433" y="6597650"/>
            <a:ext cx="2160000" cy="2603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#800 · 18MLI0007.pptx</a:t>
            </a:r>
            <a:endParaRPr lang="en-US" sz="900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9" name="Logo"/>
          <p:cNvGrpSpPr>
            <a:grpSpLocks/>
          </p:cNvGrpSpPr>
          <p:nvPr/>
        </p:nvGrpSpPr>
        <p:grpSpPr bwMode="auto">
          <a:xfrm>
            <a:off x="9986400" y="190800"/>
            <a:ext cx="1872000" cy="705600"/>
            <a:chOff x="4693" y="85"/>
            <a:chExt cx="956" cy="361"/>
          </a:xfrm>
        </p:grpSpPr>
        <p:sp>
          <p:nvSpPr>
            <p:cNvPr id="20" name="Freeform 142"/>
            <p:cNvSpPr>
              <a:spLocks/>
            </p:cNvSpPr>
            <p:nvPr/>
          </p:nvSpPr>
          <p:spPr bwMode="auto">
            <a:xfrm>
              <a:off x="5056" y="231"/>
              <a:ext cx="392" cy="215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226" y="52"/>
                </a:cxn>
                <a:cxn ang="0">
                  <a:pos x="0" y="148"/>
                </a:cxn>
                <a:cxn ang="0">
                  <a:pos x="68" y="148"/>
                </a:cxn>
                <a:cxn ang="0">
                  <a:pos x="264" y="57"/>
                </a:cxn>
                <a:cxn ang="0">
                  <a:pos x="139" y="0"/>
                </a:cxn>
                <a:cxn ang="0">
                  <a:pos x="125" y="0"/>
                </a:cxn>
              </a:cxnLst>
              <a:rect l="0" t="0" r="r" b="b"/>
              <a:pathLst>
                <a:path w="264" h="148">
                  <a:moveTo>
                    <a:pt x="125" y="0"/>
                  </a:moveTo>
                  <a:cubicBezTo>
                    <a:pt x="125" y="0"/>
                    <a:pt x="226" y="39"/>
                    <a:pt x="226" y="52"/>
                  </a:cubicBezTo>
                  <a:cubicBezTo>
                    <a:pt x="226" y="84"/>
                    <a:pt x="0" y="148"/>
                    <a:pt x="0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8" y="148"/>
                    <a:pt x="264" y="94"/>
                    <a:pt x="264" y="57"/>
                  </a:cubicBezTo>
                  <a:cubicBezTo>
                    <a:pt x="264" y="32"/>
                    <a:pt x="139" y="0"/>
                    <a:pt x="139" y="0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1" name="Freeform 143"/>
            <p:cNvSpPr>
              <a:spLocks/>
            </p:cNvSpPr>
            <p:nvPr/>
          </p:nvSpPr>
          <p:spPr bwMode="auto">
            <a:xfrm>
              <a:off x="5347" y="229"/>
              <a:ext cx="302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63"/>
                </a:cxn>
                <a:cxn ang="0">
                  <a:pos x="63" y="149"/>
                </a:cxn>
                <a:cxn ang="0">
                  <a:pos x="114" y="149"/>
                </a:cxn>
                <a:cxn ang="0">
                  <a:pos x="203" y="62"/>
                </a:cxn>
                <a:cxn ang="0">
                  <a:pos x="17" y="1"/>
                </a:cxn>
                <a:cxn ang="0">
                  <a:pos x="0" y="0"/>
                </a:cxn>
              </a:cxnLst>
              <a:rect l="0" t="0" r="r" b="b"/>
              <a:pathLst>
                <a:path w="203" h="149">
                  <a:moveTo>
                    <a:pt x="0" y="0"/>
                  </a:moveTo>
                  <a:cubicBezTo>
                    <a:pt x="0" y="0"/>
                    <a:pt x="171" y="33"/>
                    <a:pt x="168" y="63"/>
                  </a:cubicBezTo>
                  <a:cubicBezTo>
                    <a:pt x="164" y="103"/>
                    <a:pt x="63" y="149"/>
                    <a:pt x="63" y="149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203" y="103"/>
                    <a:pt x="203" y="62"/>
                  </a:cubicBezTo>
                  <a:cubicBezTo>
                    <a:pt x="203" y="24"/>
                    <a:pt x="17" y="1"/>
                    <a:pt x="17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2" name="Freeform 144"/>
            <p:cNvSpPr>
              <a:spLocks/>
            </p:cNvSpPr>
            <p:nvPr/>
          </p:nvSpPr>
          <p:spPr bwMode="auto">
            <a:xfrm>
              <a:off x="4693" y="85"/>
              <a:ext cx="144" cy="264"/>
            </a:xfrm>
            <a:custGeom>
              <a:avLst/>
              <a:gdLst/>
              <a:ahLst/>
              <a:cxnLst>
                <a:cxn ang="0">
                  <a:pos x="71" y="27"/>
                </a:cxn>
                <a:cxn ang="0">
                  <a:pos x="57" y="43"/>
                </a:cxn>
                <a:cxn ang="0">
                  <a:pos x="57" y="50"/>
                </a:cxn>
                <a:cxn ang="0">
                  <a:pos x="87" y="50"/>
                </a:cxn>
                <a:cxn ang="0">
                  <a:pos x="84" y="73"/>
                </a:cxn>
                <a:cxn ang="0">
                  <a:pos x="57" y="73"/>
                </a:cxn>
                <a:cxn ang="0">
                  <a:pos x="57" y="181"/>
                </a:cxn>
                <a:cxn ang="0">
                  <a:pos x="23" y="181"/>
                </a:cxn>
                <a:cxn ang="0">
                  <a:pos x="23" y="73"/>
                </a:cxn>
                <a:cxn ang="0">
                  <a:pos x="0" y="7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23" y="41"/>
                </a:cxn>
                <a:cxn ang="0">
                  <a:pos x="65" y="0"/>
                </a:cxn>
                <a:cxn ang="0">
                  <a:pos x="97" y="6"/>
                </a:cxn>
                <a:cxn ang="0">
                  <a:pos x="97" y="31"/>
                </a:cxn>
                <a:cxn ang="0">
                  <a:pos x="71" y="27"/>
                </a:cxn>
              </a:cxnLst>
              <a:rect l="0" t="0" r="r" b="b"/>
              <a:pathLst>
                <a:path w="97" h="181">
                  <a:moveTo>
                    <a:pt x="71" y="27"/>
                  </a:moveTo>
                  <a:cubicBezTo>
                    <a:pt x="61" y="27"/>
                    <a:pt x="57" y="32"/>
                    <a:pt x="57" y="43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9"/>
                    <a:pt x="43" y="0"/>
                    <a:pt x="65" y="0"/>
                  </a:cubicBezTo>
                  <a:cubicBezTo>
                    <a:pt x="84" y="0"/>
                    <a:pt x="97" y="6"/>
                    <a:pt x="97" y="6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81" y="27"/>
                    <a:pt x="71" y="27"/>
                  </a:cubicBezTo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3" name="Freeform 145"/>
            <p:cNvSpPr>
              <a:spLocks noEditPoints="1"/>
            </p:cNvSpPr>
            <p:nvPr/>
          </p:nvSpPr>
          <p:spPr bwMode="auto">
            <a:xfrm>
              <a:off x="4859" y="88"/>
              <a:ext cx="167" cy="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0"/>
                </a:cxn>
                <a:cxn ang="0">
                  <a:pos x="87" y="448"/>
                </a:cxn>
                <a:cxn ang="0">
                  <a:pos x="0" y="448"/>
                </a:cxn>
                <a:cxn ang="0">
                  <a:pos x="0" y="0"/>
                </a:cxn>
                <a:cxn ang="0">
                  <a:pos x="182" y="453"/>
                </a:cxn>
                <a:cxn ang="0">
                  <a:pos x="92" y="263"/>
                </a:cxn>
                <a:cxn ang="0">
                  <a:pos x="167" y="120"/>
                </a:cxn>
                <a:cxn ang="0">
                  <a:pos x="267" y="120"/>
                </a:cxn>
                <a:cxn ang="0">
                  <a:pos x="180" y="258"/>
                </a:cxn>
                <a:cxn ang="0">
                  <a:pos x="280" y="448"/>
                </a:cxn>
                <a:cxn ang="0">
                  <a:pos x="182" y="453"/>
                </a:cxn>
              </a:cxnLst>
              <a:rect l="0" t="0" r="r" b="b"/>
              <a:pathLst>
                <a:path w="280" h="453">
                  <a:moveTo>
                    <a:pt x="0" y="0"/>
                  </a:moveTo>
                  <a:lnTo>
                    <a:pt x="87" y="0"/>
                  </a:lnTo>
                  <a:lnTo>
                    <a:pt x="87" y="448"/>
                  </a:lnTo>
                  <a:lnTo>
                    <a:pt x="0" y="448"/>
                  </a:lnTo>
                  <a:lnTo>
                    <a:pt x="0" y="0"/>
                  </a:lnTo>
                  <a:close/>
                  <a:moveTo>
                    <a:pt x="182" y="453"/>
                  </a:moveTo>
                  <a:lnTo>
                    <a:pt x="92" y="263"/>
                  </a:lnTo>
                  <a:lnTo>
                    <a:pt x="167" y="120"/>
                  </a:lnTo>
                  <a:lnTo>
                    <a:pt x="267" y="120"/>
                  </a:lnTo>
                  <a:lnTo>
                    <a:pt x="180" y="258"/>
                  </a:lnTo>
                  <a:lnTo>
                    <a:pt x="280" y="448"/>
                  </a:lnTo>
                  <a:lnTo>
                    <a:pt x="182" y="453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  <p:sp>
          <p:nvSpPr>
            <p:cNvPr id="24" name="Freeform 146"/>
            <p:cNvSpPr>
              <a:spLocks noEditPoints="1"/>
            </p:cNvSpPr>
            <p:nvPr/>
          </p:nvSpPr>
          <p:spPr bwMode="auto">
            <a:xfrm>
              <a:off x="5040" y="154"/>
              <a:ext cx="158" cy="198"/>
            </a:xfrm>
            <a:custGeom>
              <a:avLst/>
              <a:gdLst/>
              <a:ahLst/>
              <a:cxnLst>
                <a:cxn ang="0">
                  <a:pos x="76" y="134"/>
                </a:cxn>
                <a:cxn ang="0">
                  <a:pos x="72" y="122"/>
                </a:cxn>
                <a:cxn ang="0">
                  <a:pos x="37" y="136"/>
                </a:cxn>
                <a:cxn ang="0">
                  <a:pos x="0" y="94"/>
                </a:cxn>
                <a:cxn ang="0">
                  <a:pos x="49" y="52"/>
                </a:cxn>
                <a:cxn ang="0">
                  <a:pos x="71" y="52"/>
                </a:cxn>
                <a:cxn ang="0">
                  <a:pos x="71" y="42"/>
                </a:cxn>
                <a:cxn ang="0">
                  <a:pos x="53" y="28"/>
                </a:cxn>
                <a:cxn ang="0">
                  <a:pos x="11" y="36"/>
                </a:cxn>
                <a:cxn ang="0">
                  <a:pos x="11" y="8"/>
                </a:cxn>
                <a:cxn ang="0">
                  <a:pos x="59" y="0"/>
                </a:cxn>
                <a:cxn ang="0">
                  <a:pos x="106" y="43"/>
                </a:cxn>
                <a:cxn ang="0">
                  <a:pos x="106" y="134"/>
                </a:cxn>
                <a:cxn ang="0">
                  <a:pos x="76" y="134"/>
                </a:cxn>
                <a:cxn ang="0">
                  <a:pos x="71" y="71"/>
                </a:cxn>
                <a:cxn ang="0">
                  <a:pos x="62" y="71"/>
                </a:cxn>
                <a:cxn ang="0">
                  <a:pos x="34" y="93"/>
                </a:cxn>
                <a:cxn ang="0">
                  <a:pos x="49" y="111"/>
                </a:cxn>
                <a:cxn ang="0">
                  <a:pos x="71" y="104"/>
                </a:cxn>
                <a:cxn ang="0">
                  <a:pos x="71" y="71"/>
                </a:cxn>
              </a:cxnLst>
              <a:rect l="0" t="0" r="r" b="b"/>
              <a:pathLst>
                <a:path w="106" h="136">
                  <a:moveTo>
                    <a:pt x="76" y="134"/>
                  </a:moveTo>
                  <a:cubicBezTo>
                    <a:pt x="72" y="122"/>
                    <a:pt x="72" y="122"/>
                    <a:pt x="72" y="122"/>
                  </a:cubicBezTo>
                  <a:cubicBezTo>
                    <a:pt x="72" y="122"/>
                    <a:pt x="59" y="136"/>
                    <a:pt x="37" y="136"/>
                  </a:cubicBezTo>
                  <a:cubicBezTo>
                    <a:pt x="21" y="136"/>
                    <a:pt x="0" y="130"/>
                    <a:pt x="0" y="94"/>
                  </a:cubicBezTo>
                  <a:cubicBezTo>
                    <a:pt x="0" y="58"/>
                    <a:pt x="29" y="52"/>
                    <a:pt x="49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30"/>
                    <a:pt x="65" y="28"/>
                    <a:pt x="53" y="28"/>
                  </a:cubicBezTo>
                  <a:cubicBezTo>
                    <a:pt x="34" y="28"/>
                    <a:pt x="11" y="36"/>
                    <a:pt x="11" y="36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34" y="0"/>
                    <a:pt x="59" y="0"/>
                  </a:cubicBezTo>
                  <a:cubicBezTo>
                    <a:pt x="85" y="0"/>
                    <a:pt x="106" y="7"/>
                    <a:pt x="106" y="43"/>
                  </a:cubicBezTo>
                  <a:cubicBezTo>
                    <a:pt x="106" y="134"/>
                    <a:pt x="106" y="134"/>
                    <a:pt x="106" y="134"/>
                  </a:cubicBezTo>
                  <a:lnTo>
                    <a:pt x="76" y="134"/>
                  </a:lnTo>
                  <a:close/>
                  <a:moveTo>
                    <a:pt x="71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42" y="72"/>
                    <a:pt x="34" y="76"/>
                    <a:pt x="34" y="93"/>
                  </a:cubicBezTo>
                  <a:cubicBezTo>
                    <a:pt x="34" y="107"/>
                    <a:pt x="40" y="111"/>
                    <a:pt x="49" y="111"/>
                  </a:cubicBezTo>
                  <a:cubicBezTo>
                    <a:pt x="62" y="111"/>
                    <a:pt x="71" y="104"/>
                    <a:pt x="71" y="104"/>
                  </a:cubicBezTo>
                  <a:lnTo>
                    <a:pt x="71" y="71"/>
                  </a:lnTo>
                  <a:close/>
                </a:path>
              </a:pathLst>
            </a:custGeom>
            <a:solidFill>
              <a:srgbClr val="6D90A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sz="180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sldNum="0"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8275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360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lang="de-DE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/>
              <a:t>Aachen, 04.12.2020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Gergely Bilkei-Gorzo, </a:t>
            </a:r>
            <a:r>
              <a:rPr lang="de-DE" dirty="0" err="1" smtClean="0"/>
              <a:t>M.Sc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 smtClean="0"/>
              <a:t>Doktorarbeit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Energiemanagement in einem modularen </a:t>
            </a:r>
            <a:r>
              <a:rPr lang="de-DE" dirty="0" err="1" smtClean="0"/>
              <a:t>Bordnetz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Institut für Kraftfahrzeug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13574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Einleitung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65318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leitun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4799" y="1412776"/>
            <a:ext cx="7993449" cy="5144400"/>
          </a:xfrm>
        </p:spPr>
        <p:txBody>
          <a:bodyPr/>
          <a:lstStyle/>
          <a:p>
            <a:r>
              <a:rPr lang="de-DE" b="1" dirty="0" smtClean="0"/>
              <a:t>Ausgangssituation: </a:t>
            </a:r>
            <a:r>
              <a:rPr lang="de-DE" dirty="0" smtClean="0"/>
              <a:t>Energieversorgung wird über Kabelbaum realisiert. Absicherung gegenüber Kurzschlüsse mit Schmelzsicherungen.</a:t>
            </a:r>
          </a:p>
          <a:p>
            <a:endParaRPr lang="de-DE" b="1" dirty="0"/>
          </a:p>
          <a:p>
            <a:r>
              <a:rPr lang="de-DE" b="1" dirty="0" smtClean="0"/>
              <a:t>Defizit: </a:t>
            </a:r>
            <a:r>
              <a:rPr lang="de-DE" dirty="0" smtClean="0"/>
              <a:t>Bordnetzkomponenten sind nicht dynamisch erweiterbar</a:t>
            </a:r>
            <a:r>
              <a:rPr lang="de-DE" b="1" dirty="0" smtClean="0"/>
              <a:t>, </a:t>
            </a:r>
            <a:r>
              <a:rPr lang="de-DE" dirty="0" smtClean="0"/>
              <a:t>Energiemanagement aufwändig, Kabelbäume müssen für neue Fahrzeuge neu entwickelt werden.</a:t>
            </a:r>
          </a:p>
          <a:p>
            <a:endParaRPr lang="de-DE" b="1" dirty="0"/>
          </a:p>
          <a:p>
            <a:r>
              <a:rPr lang="de-DE" b="1" dirty="0" smtClean="0"/>
              <a:t>Zielsetzung: </a:t>
            </a:r>
            <a:r>
              <a:rPr lang="de-DE" dirty="0" smtClean="0"/>
              <a:t>Die modulare Erweiterbarkeit des Bordnetzes zu ermöglichen. Kurzschlusserkennung und Energiemanagement soll automatisiert stattfinden.</a:t>
            </a:r>
          </a:p>
          <a:p>
            <a:endParaRPr lang="de-DE" b="1" dirty="0"/>
          </a:p>
          <a:p>
            <a:r>
              <a:rPr lang="de-DE" b="1" dirty="0" smtClean="0"/>
              <a:t>Methode: </a:t>
            </a:r>
            <a:r>
              <a:rPr lang="de-DE" dirty="0" err="1" smtClean="0"/>
              <a:t>Bordnetz</a:t>
            </a:r>
            <a:r>
              <a:rPr lang="de-DE" dirty="0" smtClean="0"/>
              <a:t> soll eine </a:t>
            </a:r>
            <a:r>
              <a:rPr lang="de-DE" dirty="0" err="1" smtClean="0"/>
              <a:t>Netzstuktur</a:t>
            </a:r>
            <a:r>
              <a:rPr lang="de-DE" dirty="0" smtClean="0"/>
              <a:t> bekommen. Energieverteilung erfolgt über modulare PDU-s. Ein Zentralsteuergerät überwacht die Stromflüsse im Netz, warnt bei Versorgungsknappheit, schaltet nach Prioritäten unwichtige Verbraucher ab.</a:t>
            </a:r>
            <a:endParaRPr lang="de-DE" b="1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6280" y="1268760"/>
            <a:ext cx="2752080" cy="1830133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9118799" y="5805264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9083046" y="4725144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488488" y="5805264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9775527" y="4020030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0209112" y="5085183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1151567" y="4308062"/>
            <a:ext cx="433585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cxnSp>
        <p:nvCxnSpPr>
          <p:cNvPr id="12" name="Gerader Verbinder 11"/>
          <p:cNvCxnSpPr>
            <a:stCxn id="5" idx="0"/>
            <a:endCxn id="6" idx="2"/>
          </p:cNvCxnSpPr>
          <p:nvPr/>
        </p:nvCxnSpPr>
        <p:spPr>
          <a:xfrm flipH="1" flipV="1">
            <a:off x="9299839" y="5013176"/>
            <a:ext cx="35753" cy="792088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>
            <a:stCxn id="6" idx="0"/>
            <a:endCxn id="8" idx="2"/>
          </p:cNvCxnSpPr>
          <p:nvPr/>
        </p:nvCxnSpPr>
        <p:spPr>
          <a:xfrm flipV="1">
            <a:off x="9299839" y="4308062"/>
            <a:ext cx="692481" cy="417082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>
            <a:stCxn id="8" idx="2"/>
            <a:endCxn id="10" idx="1"/>
          </p:cNvCxnSpPr>
          <p:nvPr/>
        </p:nvCxnSpPr>
        <p:spPr>
          <a:xfrm>
            <a:off x="9992320" y="4308062"/>
            <a:ext cx="1159247" cy="144016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>
            <a:stCxn id="9" idx="0"/>
            <a:endCxn id="10" idx="2"/>
          </p:cNvCxnSpPr>
          <p:nvPr/>
        </p:nvCxnSpPr>
        <p:spPr>
          <a:xfrm flipV="1">
            <a:off x="10425905" y="4596094"/>
            <a:ext cx="942455" cy="489089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>
            <a:stCxn id="7" idx="0"/>
            <a:endCxn id="10" idx="2"/>
          </p:cNvCxnSpPr>
          <p:nvPr/>
        </p:nvCxnSpPr>
        <p:spPr>
          <a:xfrm flipV="1">
            <a:off x="10705281" y="4596094"/>
            <a:ext cx="663079" cy="120917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>
            <a:endCxn id="7" idx="1"/>
          </p:cNvCxnSpPr>
          <p:nvPr/>
        </p:nvCxnSpPr>
        <p:spPr>
          <a:xfrm>
            <a:off x="9552384" y="5949280"/>
            <a:ext cx="936104" cy="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>
            <a:stCxn id="5" idx="0"/>
            <a:endCxn id="9" idx="1"/>
          </p:cNvCxnSpPr>
          <p:nvPr/>
        </p:nvCxnSpPr>
        <p:spPr>
          <a:xfrm flipV="1">
            <a:off x="9335592" y="5229199"/>
            <a:ext cx="873520" cy="576065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>
            <a:stCxn id="6" idx="3"/>
            <a:endCxn id="10" idx="1"/>
          </p:cNvCxnSpPr>
          <p:nvPr/>
        </p:nvCxnSpPr>
        <p:spPr>
          <a:xfrm flipV="1">
            <a:off x="9516631" y="4452078"/>
            <a:ext cx="1634936" cy="417082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/>
          <p:cNvCxnSpPr>
            <a:stCxn id="9" idx="2"/>
            <a:endCxn id="7" idx="0"/>
          </p:cNvCxnSpPr>
          <p:nvPr/>
        </p:nvCxnSpPr>
        <p:spPr>
          <a:xfrm>
            <a:off x="10425905" y="5373215"/>
            <a:ext cx="279376" cy="432049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feld 37"/>
          <p:cNvSpPr txBox="1"/>
          <p:nvPr/>
        </p:nvSpPr>
        <p:spPr>
          <a:xfrm>
            <a:off x="9835200" y="3109926"/>
            <a:ext cx="16149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Quelle: TU-dortmund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35928926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Einleit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32968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ulare Energieverteilung im </a:t>
            </a:r>
            <a:r>
              <a:rPr lang="de-DE" dirty="0" err="1" smtClean="0"/>
              <a:t>Bordnetz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smtClean="0"/>
              <a:t>Funktionsweise:</a:t>
            </a:r>
          </a:p>
          <a:p>
            <a:endParaRPr lang="de-DE" dirty="0" smtClean="0"/>
          </a:p>
          <a:p>
            <a:r>
              <a:rPr lang="de-DE" dirty="0" smtClean="0"/>
              <a:t>Energieversorgung über mehrere DC/DC Wandler</a:t>
            </a:r>
          </a:p>
          <a:p>
            <a:endParaRPr lang="de-DE" dirty="0"/>
          </a:p>
          <a:p>
            <a:r>
              <a:rPr lang="de-DE" dirty="0" smtClean="0"/>
              <a:t>Energieverteilung über Zusammenschaltung von mehreren modularen PDU-s</a:t>
            </a:r>
          </a:p>
          <a:p>
            <a:endParaRPr lang="de-DE" dirty="0"/>
          </a:p>
          <a:p>
            <a:r>
              <a:rPr lang="de-DE" dirty="0" smtClean="0"/>
              <a:t>Überwachung und Regelung durch ein Zentralsteuergerät</a:t>
            </a:r>
          </a:p>
          <a:p>
            <a:endParaRPr lang="de-DE" dirty="0"/>
          </a:p>
          <a:p>
            <a:r>
              <a:rPr lang="de-DE" dirty="0" smtClean="0"/>
              <a:t>Verbraucher können auch nachträglich hinzugefügt werden</a:t>
            </a:r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96831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are Energieverteilung im </a:t>
            </a:r>
            <a:r>
              <a:rPr lang="de-DE" dirty="0" err="1"/>
              <a:t>Bordnetz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Verbraucher melden sich beim Zentralsteuergerät mit Energiebedarf und Priorität an</a:t>
            </a:r>
          </a:p>
          <a:p>
            <a:endParaRPr lang="de-DE" dirty="0"/>
          </a:p>
          <a:p>
            <a:r>
              <a:rPr lang="de-DE" dirty="0" smtClean="0"/>
              <a:t>Zentralsteuergerät warnt wenn nicht genug Energie zur Verfügung gestellt werden kann</a:t>
            </a:r>
          </a:p>
          <a:p>
            <a:endParaRPr lang="de-DE" dirty="0"/>
          </a:p>
          <a:p>
            <a:r>
              <a:rPr lang="de-DE" dirty="0" smtClean="0"/>
              <a:t>Quellen melden sich mit Effizienzprofil beim Zentralsteuergerät an</a:t>
            </a:r>
          </a:p>
          <a:p>
            <a:endParaRPr lang="de-DE" dirty="0"/>
          </a:p>
          <a:p>
            <a:r>
              <a:rPr lang="de-DE" dirty="0" smtClean="0"/>
              <a:t>Im Betrieb werden Lasten zwischen Quellen so verteilt dass die maximale Effizienz erreicht wird</a:t>
            </a:r>
          </a:p>
          <a:p>
            <a:endParaRPr lang="de-DE" dirty="0"/>
          </a:p>
          <a:p>
            <a:r>
              <a:rPr lang="de-DE" dirty="0" smtClean="0"/>
              <a:t>Im Überlastung/Fehlerfall werden Verbraucher </a:t>
            </a:r>
            <a:r>
              <a:rPr lang="de-DE" smtClean="0"/>
              <a:t>mit niedrigsten Prioritäten </a:t>
            </a:r>
            <a:r>
              <a:rPr lang="de-DE" dirty="0" smtClean="0"/>
              <a:t>abgeschaltet.</a:t>
            </a:r>
          </a:p>
        </p:txBody>
      </p:sp>
    </p:spTree>
    <p:extLst>
      <p:ext uri="{BB962C8B-B14F-4D97-AF65-F5344CB8AC3E}">
        <p14:creationId xmlns:p14="http://schemas.microsoft.com/office/powerpoint/2010/main" val="11481858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ulare PDU Aufbau</a:t>
            </a:r>
            <a:endParaRPr lang="de-DE" dirty="0"/>
          </a:p>
        </p:txBody>
      </p:sp>
      <p:grpSp>
        <p:nvGrpSpPr>
          <p:cNvPr id="250" name="Gruppieren 249"/>
          <p:cNvGrpSpPr/>
          <p:nvPr/>
        </p:nvGrpSpPr>
        <p:grpSpPr>
          <a:xfrm>
            <a:off x="2711624" y="2708920"/>
            <a:ext cx="9001822" cy="3344467"/>
            <a:chOff x="2519980" y="2676820"/>
            <a:chExt cx="9001822" cy="3344467"/>
          </a:xfrm>
        </p:grpSpPr>
        <p:grpSp>
          <p:nvGrpSpPr>
            <p:cNvPr id="71" name="Gruppieren 70"/>
            <p:cNvGrpSpPr>
              <a:grpSpLocks noChangeAspect="1"/>
            </p:cNvGrpSpPr>
            <p:nvPr/>
          </p:nvGrpSpPr>
          <p:grpSpPr>
            <a:xfrm>
              <a:off x="9264352" y="3645024"/>
              <a:ext cx="2257450" cy="2376263"/>
              <a:chOff x="8004212" y="1700808"/>
              <a:chExt cx="2815863" cy="2880320"/>
            </a:xfrm>
          </p:grpSpPr>
          <p:sp>
            <p:nvSpPr>
              <p:cNvPr id="4" name="Rechteck 3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Rechteck 8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>
                    <a:solidFill>
                      <a:schemeClr val="bg1"/>
                    </a:solidFill>
                  </a:rPr>
                  <a:t>Stecker</a:t>
                </a:r>
                <a:endParaRPr lang="de-DE" sz="1200" dirty="0" smtClean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8" name="Gruppieren 17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6" name="Ellipse 15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" name="Textfeld 16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 smtClean="0"/>
                    <a:t>A</a:t>
                  </a:r>
                  <a:endParaRPr lang="de-DE" sz="1000" dirty="0"/>
                </a:p>
              </p:txBody>
            </p:sp>
          </p:grpSp>
          <p:grpSp>
            <p:nvGrpSpPr>
              <p:cNvPr id="30" name="Gruppieren 29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19" name="Rechteck 18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1" name="Gerader Verbinder 20"/>
                <p:cNvCxnSpPr>
                  <a:stCxn id="19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Gerader Verbinder 22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Gerader Verbinder 25"/>
                <p:cNvCxnSpPr>
                  <a:stCxn id="19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1" name="Gruppieren 30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32" name="Ellipse 31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3" name="Textfeld 32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 smtClean="0"/>
                    <a:t>V</a:t>
                  </a:r>
                  <a:endParaRPr lang="de-DE" sz="1000" dirty="0"/>
                </a:p>
              </p:txBody>
            </p:sp>
          </p:grpSp>
          <p:cxnSp>
            <p:nvCxnSpPr>
              <p:cNvPr id="35" name="Gerader Verbinder 34"/>
              <p:cNvCxnSpPr>
                <a:stCxn id="16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r Verbinder 39"/>
              <p:cNvCxnSpPr>
                <a:endCxn id="17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r Verbinder 42"/>
              <p:cNvCxnSpPr>
                <a:stCxn id="19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r Verbinder 49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r Verbinder 52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r Verbinder 56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r Verbinder 60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Ellipse 63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6" name="Ellipse 65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8" name="Rechteck 67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>
                    <a:solidFill>
                      <a:schemeClr val="bg1"/>
                    </a:solidFill>
                  </a:rPr>
                  <a:t>Stecker</a:t>
                </a:r>
                <a:endParaRPr lang="de-DE" sz="120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Rechteck 68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 smtClean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51" name="Gruppieren 150"/>
            <p:cNvGrpSpPr>
              <a:grpSpLocks noChangeAspect="1"/>
            </p:cNvGrpSpPr>
            <p:nvPr/>
          </p:nvGrpSpPr>
          <p:grpSpPr>
            <a:xfrm>
              <a:off x="7016045" y="3645024"/>
              <a:ext cx="2257450" cy="2376263"/>
              <a:chOff x="8004212" y="1700808"/>
              <a:chExt cx="2815863" cy="2880320"/>
            </a:xfrm>
          </p:grpSpPr>
          <p:sp>
            <p:nvSpPr>
              <p:cNvPr id="152" name="Rechteck 151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3" name="Rechteck 152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>
                    <a:solidFill>
                      <a:schemeClr val="bg1"/>
                    </a:solidFill>
                  </a:rPr>
                  <a:t>Stecker</a:t>
                </a:r>
                <a:endParaRPr lang="de-DE" sz="1200" dirty="0" smtClean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54" name="Gruppieren 153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75" name="Ellipse 174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6" name="Textfeld 175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 smtClean="0"/>
                    <a:t>A</a:t>
                  </a:r>
                  <a:endParaRPr lang="de-DE" sz="1000" dirty="0"/>
                </a:p>
              </p:txBody>
            </p:sp>
          </p:grpSp>
          <p:grpSp>
            <p:nvGrpSpPr>
              <p:cNvPr id="155" name="Gruppieren 154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171" name="Rechteck 170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72" name="Gerader Verbinder 171"/>
                <p:cNvCxnSpPr>
                  <a:stCxn id="171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3" name="Gerader Verbinder 172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" name="Gerader Verbinder 173"/>
                <p:cNvCxnSpPr>
                  <a:stCxn id="171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6" name="Gruppieren 155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69" name="Ellipse 168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0" name="Textfeld 169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 smtClean="0"/>
                    <a:t>V</a:t>
                  </a:r>
                  <a:endParaRPr lang="de-DE" sz="1000" dirty="0"/>
                </a:p>
              </p:txBody>
            </p:sp>
          </p:grpSp>
          <p:cxnSp>
            <p:nvCxnSpPr>
              <p:cNvPr id="157" name="Gerader Verbinder 156"/>
              <p:cNvCxnSpPr>
                <a:stCxn id="175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r Verbinder 157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r Verbinder 158"/>
              <p:cNvCxnSpPr>
                <a:endCxn id="176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Gerader Verbinder 159"/>
              <p:cNvCxnSpPr>
                <a:stCxn id="171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r Verbinder 160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r Verbinder 161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r Verbinder 162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r Verbinder 163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5" name="Ellipse 164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Ellipse 165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7" name="Rechteck 166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>
                    <a:solidFill>
                      <a:schemeClr val="bg1"/>
                    </a:solidFill>
                  </a:rPr>
                  <a:t>Stecker</a:t>
                </a:r>
                <a:endParaRPr lang="de-DE" sz="120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8" name="Rechteck 167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 smtClean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7" name="Gruppieren 176"/>
            <p:cNvGrpSpPr>
              <a:grpSpLocks noChangeAspect="1"/>
            </p:cNvGrpSpPr>
            <p:nvPr/>
          </p:nvGrpSpPr>
          <p:grpSpPr>
            <a:xfrm>
              <a:off x="4767201" y="3645024"/>
              <a:ext cx="2257450" cy="2376263"/>
              <a:chOff x="8004212" y="1700808"/>
              <a:chExt cx="2815863" cy="2880320"/>
            </a:xfrm>
          </p:grpSpPr>
          <p:sp>
            <p:nvSpPr>
              <p:cNvPr id="178" name="Rechteck 177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9" name="Rechteck 178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>
                    <a:solidFill>
                      <a:schemeClr val="bg1"/>
                    </a:solidFill>
                  </a:rPr>
                  <a:t>Stecker</a:t>
                </a:r>
                <a:endParaRPr lang="de-DE" sz="1200" dirty="0" smtClean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80" name="Gruppieren 179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01" name="Ellipse 200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2" name="Textfeld 201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 smtClean="0"/>
                    <a:t>A</a:t>
                  </a:r>
                  <a:endParaRPr lang="de-DE" sz="1000" dirty="0"/>
                </a:p>
              </p:txBody>
            </p:sp>
          </p:grpSp>
          <p:grpSp>
            <p:nvGrpSpPr>
              <p:cNvPr id="181" name="Gruppieren 180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197" name="Rechteck 196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98" name="Gerader Verbinder 197"/>
                <p:cNvCxnSpPr>
                  <a:stCxn id="197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9" name="Gerader Verbinder 198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" name="Gerader Verbinder 199"/>
                <p:cNvCxnSpPr>
                  <a:stCxn id="197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2" name="Gruppieren 181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95" name="Ellipse 194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6" name="Textfeld 195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 smtClean="0"/>
                    <a:t>V</a:t>
                  </a:r>
                  <a:endParaRPr lang="de-DE" sz="1000" dirty="0"/>
                </a:p>
              </p:txBody>
            </p:sp>
          </p:grpSp>
          <p:cxnSp>
            <p:nvCxnSpPr>
              <p:cNvPr id="183" name="Gerader Verbinder 182"/>
              <p:cNvCxnSpPr>
                <a:stCxn id="201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Gerader Verbinder 183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Gerader Verbinder 184"/>
              <p:cNvCxnSpPr>
                <a:endCxn id="202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r Verbinder 185"/>
              <p:cNvCxnSpPr>
                <a:stCxn id="197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r Verbinder 186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Gerader Verbinder 187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r Verbinder 188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r Verbinder 189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1" name="Ellipse 190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2" name="Ellipse 191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3" name="Rechteck 192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>
                    <a:solidFill>
                      <a:schemeClr val="bg1"/>
                    </a:solidFill>
                  </a:rPr>
                  <a:t>Stecker</a:t>
                </a:r>
                <a:endParaRPr lang="de-DE" sz="120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194" name="Rechteck 193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 smtClean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03" name="Gruppieren 202"/>
            <p:cNvGrpSpPr>
              <a:grpSpLocks noChangeAspect="1"/>
            </p:cNvGrpSpPr>
            <p:nvPr/>
          </p:nvGrpSpPr>
          <p:grpSpPr>
            <a:xfrm>
              <a:off x="2519980" y="3645024"/>
              <a:ext cx="2257450" cy="2376263"/>
              <a:chOff x="8004212" y="1700808"/>
              <a:chExt cx="2815863" cy="2880320"/>
            </a:xfrm>
          </p:grpSpPr>
          <p:sp>
            <p:nvSpPr>
              <p:cNvPr id="204" name="Rechteck 203"/>
              <p:cNvSpPr/>
              <p:nvPr/>
            </p:nvSpPr>
            <p:spPr>
              <a:xfrm>
                <a:off x="8004212" y="1700808"/>
                <a:ext cx="2808312" cy="2880320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Rechteck 204"/>
              <p:cNvSpPr/>
              <p:nvPr/>
            </p:nvSpPr>
            <p:spPr>
              <a:xfrm>
                <a:off x="8688288" y="1700808"/>
                <a:ext cx="1440160" cy="633737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>
                    <a:solidFill>
                      <a:schemeClr val="bg1"/>
                    </a:solidFill>
                  </a:rPr>
                  <a:t>Stecker</a:t>
                </a:r>
                <a:endParaRPr lang="de-DE" sz="1200" dirty="0" smtClean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206" name="Gruppieren 205"/>
              <p:cNvGrpSpPr>
                <a:grpSpLocks noChangeAspect="1"/>
              </p:cNvGrpSpPr>
              <p:nvPr/>
            </p:nvGrpSpPr>
            <p:grpSpPr>
              <a:xfrm>
                <a:off x="8649284" y="3598462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27" name="Ellipse 226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8" name="Textfeld 227"/>
                <p:cNvSpPr txBox="1"/>
                <p:nvPr/>
              </p:nvSpPr>
              <p:spPr>
                <a:xfrm>
                  <a:off x="3978839" y="3072939"/>
                  <a:ext cx="477900" cy="42408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 smtClean="0"/>
                    <a:t>A</a:t>
                  </a:r>
                  <a:endParaRPr lang="de-DE" sz="1000" dirty="0"/>
                </a:p>
              </p:txBody>
            </p:sp>
          </p:grpSp>
          <p:grpSp>
            <p:nvGrpSpPr>
              <p:cNvPr id="207" name="Gruppieren 206"/>
              <p:cNvGrpSpPr/>
              <p:nvPr/>
            </p:nvGrpSpPr>
            <p:grpSpPr>
              <a:xfrm>
                <a:off x="8610280" y="2947187"/>
                <a:ext cx="432048" cy="439984"/>
                <a:chOff x="8472264" y="3277048"/>
                <a:chExt cx="432048" cy="439984"/>
              </a:xfrm>
            </p:grpSpPr>
            <p:sp>
              <p:nvSpPr>
                <p:cNvPr id="223" name="Rechteck 222"/>
                <p:cNvSpPr/>
                <p:nvPr/>
              </p:nvSpPr>
              <p:spPr>
                <a:xfrm>
                  <a:off x="8472264" y="3277048"/>
                  <a:ext cx="432048" cy="439984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224" name="Gerader Verbinder 223"/>
                <p:cNvCxnSpPr>
                  <a:stCxn id="223" idx="2"/>
                </p:cNvCxnSpPr>
                <p:nvPr/>
              </p:nvCxnSpPr>
              <p:spPr>
                <a:xfrm flipV="1">
                  <a:off x="8688288" y="3573016"/>
                  <a:ext cx="0" cy="144016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5" name="Gerader Verbinder 224"/>
                <p:cNvCxnSpPr/>
                <p:nvPr/>
              </p:nvCxnSpPr>
              <p:spPr>
                <a:xfrm>
                  <a:off x="8544272" y="3356992"/>
                  <a:ext cx="144016" cy="216024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" name="Gerader Verbinder 225"/>
                <p:cNvCxnSpPr>
                  <a:stCxn id="223" idx="0"/>
                </p:cNvCxnSpPr>
                <p:nvPr/>
              </p:nvCxnSpPr>
              <p:spPr>
                <a:xfrm>
                  <a:off x="8688288" y="3277048"/>
                  <a:ext cx="0" cy="151952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8" name="Gruppieren 207"/>
              <p:cNvGrpSpPr>
                <a:grpSpLocks noChangeAspect="1"/>
              </p:cNvGrpSpPr>
              <p:nvPr/>
            </p:nvGrpSpPr>
            <p:grpSpPr>
              <a:xfrm>
                <a:off x="9395352" y="2460077"/>
                <a:ext cx="361577" cy="361577"/>
                <a:chOff x="3935760" y="2996952"/>
                <a:chExt cx="576064" cy="576064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21" name="Ellipse 220"/>
                <p:cNvSpPr/>
                <p:nvPr/>
              </p:nvSpPr>
              <p:spPr>
                <a:xfrm>
                  <a:off x="3935760" y="2996952"/>
                  <a:ext cx="576064" cy="576064"/>
                </a:xfrm>
                <a:prstGeom prst="ellipse">
                  <a:avLst/>
                </a:prstGeom>
                <a:grp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2" name="Textfeld 221"/>
                <p:cNvSpPr txBox="1"/>
                <p:nvPr/>
              </p:nvSpPr>
              <p:spPr>
                <a:xfrm>
                  <a:off x="3984845" y="3050089"/>
                  <a:ext cx="477899" cy="42408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 smtClean="0"/>
                    <a:t>V</a:t>
                  </a:r>
                  <a:endParaRPr lang="de-DE" sz="1000" dirty="0"/>
                </a:p>
              </p:txBody>
            </p:sp>
          </p:grpSp>
          <p:cxnSp>
            <p:nvCxnSpPr>
              <p:cNvPr id="209" name="Gerader Verbinder 208"/>
              <p:cNvCxnSpPr>
                <a:stCxn id="227" idx="4"/>
              </p:cNvCxnSpPr>
              <p:nvPr/>
            </p:nvCxnSpPr>
            <p:spPr>
              <a:xfrm flipH="1">
                <a:off x="8826304" y="3960039"/>
                <a:ext cx="3769" cy="18904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Gerader Verbinder 209"/>
              <p:cNvCxnSpPr/>
              <p:nvPr/>
            </p:nvCxnSpPr>
            <p:spPr>
              <a:xfrm>
                <a:off x="9984432" y="2334545"/>
                <a:ext cx="0" cy="2030559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Gerader Verbinder 210"/>
              <p:cNvCxnSpPr>
                <a:endCxn id="228" idx="0"/>
              </p:cNvCxnSpPr>
              <p:nvPr/>
            </p:nvCxnSpPr>
            <p:spPr>
              <a:xfrm rot="5400000">
                <a:off x="8701612" y="3521465"/>
                <a:ext cx="2493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Gerader Verbinder 211"/>
              <p:cNvCxnSpPr>
                <a:stCxn id="223" idx="0"/>
              </p:cNvCxnSpPr>
              <p:nvPr/>
            </p:nvCxnSpPr>
            <p:spPr>
              <a:xfrm flipV="1">
                <a:off x="8826304" y="2334545"/>
                <a:ext cx="0" cy="61264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3" name="Gerader Verbinder 212"/>
              <p:cNvCxnSpPr/>
              <p:nvPr/>
            </p:nvCxnSpPr>
            <p:spPr>
              <a:xfrm flipH="1">
                <a:off x="8816589" y="2640864"/>
                <a:ext cx="578763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Gerader Verbinder 213"/>
              <p:cNvCxnSpPr/>
              <p:nvPr/>
            </p:nvCxnSpPr>
            <p:spPr>
              <a:xfrm flipH="1">
                <a:off x="9756930" y="2640864"/>
                <a:ext cx="227502" cy="1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r Verbinder 214"/>
              <p:cNvCxnSpPr/>
              <p:nvPr/>
            </p:nvCxnSpPr>
            <p:spPr>
              <a:xfrm>
                <a:off x="8011763" y="4149080"/>
                <a:ext cx="2808312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r Verbinder 215"/>
              <p:cNvCxnSpPr/>
              <p:nvPr/>
            </p:nvCxnSpPr>
            <p:spPr>
              <a:xfrm>
                <a:off x="8112224" y="4365104"/>
                <a:ext cx="2687284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7" name="Ellipse 216"/>
              <p:cNvSpPr/>
              <p:nvPr/>
            </p:nvSpPr>
            <p:spPr>
              <a:xfrm>
                <a:off x="8754296" y="4086314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Ellipse 217"/>
              <p:cNvSpPr/>
              <p:nvPr/>
            </p:nvSpPr>
            <p:spPr>
              <a:xfrm>
                <a:off x="9912424" y="4302338"/>
                <a:ext cx="141626" cy="125532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9" name="Rechteck 218"/>
              <p:cNvSpPr/>
              <p:nvPr/>
            </p:nvSpPr>
            <p:spPr>
              <a:xfrm rot="16200000">
                <a:off x="7877621" y="3847758"/>
                <a:ext cx="873170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>
                    <a:solidFill>
                      <a:schemeClr val="bg1"/>
                    </a:solidFill>
                  </a:rPr>
                  <a:t>Stecker</a:t>
                </a:r>
                <a:endParaRPr lang="de-DE" sz="120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0" name="Rechteck 219"/>
              <p:cNvSpPr/>
              <p:nvPr/>
            </p:nvSpPr>
            <p:spPr>
              <a:xfrm rot="5400000">
                <a:off x="10076671" y="3842512"/>
                <a:ext cx="862677" cy="592150"/>
              </a:xfrm>
              <a:prstGeom prst="rect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>
                    <a:solidFill>
                      <a:schemeClr val="bg1"/>
                    </a:solidFill>
                  </a:rPr>
                  <a:t>Stecker</a:t>
                </a:r>
              </a:p>
              <a:p>
                <a:pPr algn="ctr"/>
                <a:endParaRPr lang="de-DE" dirty="0" smtClean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37" name="Gruppieren 236"/>
            <p:cNvGrpSpPr/>
            <p:nvPr/>
          </p:nvGrpSpPr>
          <p:grpSpPr>
            <a:xfrm>
              <a:off x="9609356" y="2676820"/>
              <a:ext cx="1561387" cy="1002672"/>
              <a:chOff x="9609356" y="2676820"/>
              <a:chExt cx="1561387" cy="1002672"/>
            </a:xfrm>
          </p:grpSpPr>
          <p:sp>
            <p:nvSpPr>
              <p:cNvPr id="229" name="Rechteck 228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>
                    <a:solidFill>
                      <a:schemeClr val="tx1"/>
                    </a:solidFill>
                  </a:rPr>
                  <a:t>Verbraucher/Quelle</a:t>
                </a:r>
                <a:endParaRPr lang="de-DE" sz="1200" dirty="0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30" name="Gerader Verbinder 229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r Verbinder 231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8" name="Gruppieren 237"/>
            <p:cNvGrpSpPr/>
            <p:nvPr/>
          </p:nvGrpSpPr>
          <p:grpSpPr>
            <a:xfrm>
              <a:off x="7361049" y="2676820"/>
              <a:ext cx="1561387" cy="1002672"/>
              <a:chOff x="9609356" y="2676820"/>
              <a:chExt cx="1561387" cy="1002672"/>
            </a:xfrm>
          </p:grpSpPr>
          <p:sp>
            <p:nvSpPr>
              <p:cNvPr id="239" name="Rechteck 238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>
                    <a:solidFill>
                      <a:schemeClr val="tx1"/>
                    </a:solidFill>
                  </a:rPr>
                  <a:t>Verbraucher/Quelle</a:t>
                </a:r>
                <a:endParaRPr lang="de-DE" sz="1200" dirty="0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40" name="Gerader Verbinder 239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1" name="Gerader Verbinder 240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2" name="Gruppieren 241"/>
            <p:cNvGrpSpPr/>
            <p:nvPr/>
          </p:nvGrpSpPr>
          <p:grpSpPr>
            <a:xfrm>
              <a:off x="5112742" y="2676820"/>
              <a:ext cx="1561387" cy="1002672"/>
              <a:chOff x="9609356" y="2676820"/>
              <a:chExt cx="1561387" cy="1002672"/>
            </a:xfrm>
          </p:grpSpPr>
          <p:sp>
            <p:nvSpPr>
              <p:cNvPr id="243" name="Rechteck 242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>
                    <a:solidFill>
                      <a:schemeClr val="tx1"/>
                    </a:solidFill>
                  </a:rPr>
                  <a:t>Verbraucher/Quelle</a:t>
                </a:r>
                <a:endParaRPr lang="de-DE" sz="1200" dirty="0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44" name="Gerader Verbinder 243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5" name="Gerader Verbinder 244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6" name="Gruppieren 245"/>
            <p:cNvGrpSpPr/>
            <p:nvPr/>
          </p:nvGrpSpPr>
          <p:grpSpPr>
            <a:xfrm>
              <a:off x="2904213" y="2714488"/>
              <a:ext cx="1561387" cy="1002672"/>
              <a:chOff x="9609356" y="2676820"/>
              <a:chExt cx="1561387" cy="1002672"/>
            </a:xfrm>
          </p:grpSpPr>
          <p:sp>
            <p:nvSpPr>
              <p:cNvPr id="247" name="Rechteck 246"/>
              <p:cNvSpPr/>
              <p:nvPr/>
            </p:nvSpPr>
            <p:spPr>
              <a:xfrm>
                <a:off x="9609356" y="2676820"/>
                <a:ext cx="1561387" cy="63843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dirty="0" smtClean="0">
                    <a:solidFill>
                      <a:schemeClr val="tx1"/>
                    </a:solidFill>
                  </a:rPr>
                  <a:t>Verbraucher/Quelle</a:t>
                </a:r>
                <a:endParaRPr lang="de-DE" sz="1200" dirty="0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48" name="Gerader Verbinder 247"/>
              <p:cNvCxnSpPr/>
              <p:nvPr/>
            </p:nvCxnSpPr>
            <p:spPr>
              <a:xfrm flipH="1">
                <a:off x="10071373" y="3330252"/>
                <a:ext cx="5902" cy="31477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9" name="Gerader Verbinder 248"/>
              <p:cNvCxnSpPr/>
              <p:nvPr/>
            </p:nvCxnSpPr>
            <p:spPr>
              <a:xfrm>
                <a:off x="10669488" y="3330252"/>
                <a:ext cx="0" cy="34924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6329111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F-Praesentation_Standard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039FAB9D-009D-4590-ACA3-514C52169DEC}"/>
    </a:ext>
  </a:extLst>
</a:theme>
</file>

<file path=ppt/theme/theme2.xml><?xml version="1.0" encoding="utf-8"?>
<a:theme xmlns:a="http://schemas.openxmlformats.org/drawingml/2006/main" name="ika_Englis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F81616BE-3E79-4937-A4E1-333A663EF185}"/>
    </a:ext>
  </a:extLst>
</a:theme>
</file>

<file path=ppt/theme/theme3.xml><?xml version="1.0" encoding="utf-8"?>
<a:theme xmlns:a="http://schemas.openxmlformats.org/drawingml/2006/main" name="fka_Deut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0BC3888D-EBCC-4D0A-B11C-1EB22320D6D3}"/>
    </a:ext>
  </a:extLst>
</a:theme>
</file>

<file path=ppt/theme/theme4.xml><?xml version="1.0" encoding="utf-8"?>
<a:theme xmlns:a="http://schemas.openxmlformats.org/drawingml/2006/main" name="fka_Englisch">
  <a:themeElements>
    <a:clrScheme name="Benutzerdefiniert 1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FFFF00"/>
      </a:accent2>
      <a:accent3>
        <a:srgbClr val="CC071E"/>
      </a:accent3>
      <a:accent4>
        <a:srgbClr val="E572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 12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C7A9A54-81D5-4418-BE5D-AD98DCDA7938}" vid="{9FE5380F-10C5-4D57-9B4A-525CA22D6C87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F-Praesentation_Standard</Template>
  <TotalTime>0</TotalTime>
  <Words>224</Words>
  <Application>Microsoft Office PowerPoint</Application>
  <PresentationFormat>Breitbild</PresentationFormat>
  <Paragraphs>66</Paragraphs>
  <Slides>7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5" baseType="lpstr">
      <vt:lpstr>Arial</vt:lpstr>
      <vt:lpstr>Calibri</vt:lpstr>
      <vt:lpstr>Wingdings</vt:lpstr>
      <vt:lpstr>IF-Praesentation_Standard</vt:lpstr>
      <vt:lpstr>ika_Englisch</vt:lpstr>
      <vt:lpstr>fka_Deutsch</vt:lpstr>
      <vt:lpstr>fka_Englisch</vt:lpstr>
      <vt:lpstr>think-cell Folie</vt:lpstr>
      <vt:lpstr>Energiemanagement in einem modularen Bordnetz</vt:lpstr>
      <vt:lpstr>Inhalt</vt:lpstr>
      <vt:lpstr>Einleitung</vt:lpstr>
      <vt:lpstr>Inhalt</vt:lpstr>
      <vt:lpstr>Modulare Energieverteilung im Bordnetz</vt:lpstr>
      <vt:lpstr>Modulare Energieverteilung im Bordnetz</vt:lpstr>
      <vt:lpstr>Modulare PDU Aufbau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nglu.li@ika.rwth-aachen.de</dc:creator>
  <cp:lastModifiedBy>Gergely Bilkei-Gorzo</cp:lastModifiedBy>
  <cp:revision>297</cp:revision>
  <cp:lastPrinted>2018-07-30T12:07:50Z</cp:lastPrinted>
  <dcterms:created xsi:type="dcterms:W3CDTF">2018-06-17T18:22:58Z</dcterms:created>
  <dcterms:modified xsi:type="dcterms:W3CDTF">2020-12-07T14:37:27Z</dcterms:modified>
  <cp:contentStatus/>
</cp:coreProperties>
</file>